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sldIdLst>
    <p:sldId id="257" r:id="rId2"/>
    <p:sldId id="256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2E8466-83BB-6317-73B9-A51F2FE0BC10}" name="Pare, Carine (SPAC/PSPC) (elle-la / she-her)" initials="PC((l/sh" userId="S::Carine.Pare@tpsgc-pwgsc.gc.ca::71f88b2f-db4c-4269-9577-1025f7fc6543" providerId="AD"/>
  <p188:author id="{0725D58D-19FC-2C41-5C3A-CFBED0122820}" name="Genereux, Sophie (SPAC/PSPC) (elle-la / she-her)" initials="GS((l/sh" userId="S::Sophie.Genereux@tpsgc-pwgsc.gc.ca::fb217e55-5cbd-4b07-9ec1-a590548adf6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E8E8E"/>
    <a:srgbClr val="AEAEAE"/>
    <a:srgbClr val="3B3838"/>
    <a:srgbClr val="6D6D6D"/>
    <a:srgbClr val="C4870C"/>
    <a:srgbClr val="6AA23C"/>
    <a:srgbClr val="008273"/>
    <a:srgbClr val="43A38E"/>
    <a:srgbClr val="4EB6A0"/>
    <a:srgbClr val="797A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8" autoAdjust="0"/>
    <p:restoredTop sz="94543" autoAdjust="0"/>
  </p:normalViewPr>
  <p:slideViewPr>
    <p:cSldViewPr snapToGrid="0">
      <p:cViewPr varScale="1">
        <p:scale>
          <a:sx n="107" d="100"/>
          <a:sy n="107" d="100"/>
        </p:scale>
        <p:origin x="696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34BAEF-2905-41D5-A91B-BF97A4AD45A7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FAC91B-13D0-4577-B25F-6C8B5D0F57E0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17843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0F0320-2FD2-A04F-7CF0-41B04E8AB4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E0832A-B57C-7B6E-3282-9BC5D633F0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92FAE1-7A27-2D16-1F81-7D0D9B9270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4B396D-2301-49F7-3E29-866B34A02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C725CE-B82F-2DD9-0816-8D7ED4AB91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625928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CB99C0-FCE9-F52A-A332-AA58470A6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1C68446-1618-7A7C-F20E-0CEB2791EEC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4C0645-44F1-415A-9C85-2DD10A585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615F3E-D6F6-9330-ACF1-06746D1EF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DC1A2B-E057-BCA1-D720-62BE4E465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3747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89E5033-32CA-3A31-614A-90F0E7FEA14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80347F4-67AD-ABB5-4030-B7AE25141AB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199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DCAC47-A656-A76B-4ED7-B20510A652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16A91F-DB85-25E7-BC43-E0A178DBA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D34DB6-1105-9DC2-355C-A695584CCC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226852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1FF1E2-ADC9-3785-55AF-6D4AA07C2D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4F993B-C23F-C55F-B292-221E8487D0E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451B9D-3CA8-39BB-A7A5-EC142BD05F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B7ACD8-481C-275E-3F8C-F1302009F5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731A23-F6B5-ADF7-5F61-E0D2BEA6E8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676435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72A39-E499-039D-3455-E6192D6287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2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E0E46B6-A321-3EA9-96EF-6A53DFEDEF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1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7559F1-E76D-F03D-BAEC-73756F276B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EE7F25-9184-E7F7-B0C5-CD9F8C3CD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BFE7E8-5BFD-649E-A819-464CBA0627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98577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E39DE-6B07-7341-00A3-E7A9E5C3F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00BB3F7-6772-3B3C-0FDF-CE78C6CCED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553E8D-466E-EEC1-8F5E-8CCF0D9301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674840-9AF9-B761-717F-EFDF06E27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9A567C-14B8-700D-8635-44EEEFE803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590C6C-F0C3-CAC3-64FD-8820E0A6C5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5868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FC23F4-4258-7778-7382-E7C77B812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0915E9-9D2F-4593-FBE0-E7A61D41C9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3BE516D-CEEA-BBCA-EA69-06EBA8BF01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DD67F19-57E1-A5B0-AAC1-E871815736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1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FB4D611-EF8C-761E-FACE-2CF25F7D1E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43A5129-EDDA-6494-56D9-A8F73E93E2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825946-A54F-8B81-45C1-E8B1487069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8780BA0-56CA-01B8-3183-243F1BA6C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25047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DC4329-C192-94A1-B3D3-951CD9174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463447-2EFD-616E-2F7A-824BDAE59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3D6332-6BBF-0503-E69D-FB7C4BD28C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F291CA-4846-0B27-9C78-D2DA9FAFAC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309461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9C81F6D-88BA-23A9-C88E-8A81B5434C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46478-5A04-B15D-0F42-3178ABED47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AFEFF8-16DC-0D4A-5063-36C6E11C7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88198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0E3AA5-11B8-C4B1-03B7-80015CA41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0839E9-F7A9-10EF-97B0-9E2E4C154E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C19F4B-A91A-4F9C-C303-0B947C3B1C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1"/>
            </a:lvl2pPr>
            <a:lvl3pPr marL="914411" indent="0">
              <a:buNone/>
              <a:defRPr sz="1200"/>
            </a:lvl3pPr>
            <a:lvl4pPr marL="1371617" indent="0">
              <a:buNone/>
              <a:defRPr sz="1001"/>
            </a:lvl4pPr>
            <a:lvl5pPr marL="1828823" indent="0">
              <a:buNone/>
              <a:defRPr sz="1001"/>
            </a:lvl5pPr>
            <a:lvl6pPr marL="2286029" indent="0">
              <a:buNone/>
              <a:defRPr sz="1001"/>
            </a:lvl6pPr>
            <a:lvl7pPr marL="2743234" indent="0">
              <a:buNone/>
              <a:defRPr sz="1001"/>
            </a:lvl7pPr>
            <a:lvl8pPr marL="3200440" indent="0">
              <a:buNone/>
              <a:defRPr sz="1001"/>
            </a:lvl8pPr>
            <a:lvl9pPr marL="3657646" indent="0">
              <a:buNone/>
              <a:defRPr sz="100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EDFD798-9A01-3BFA-9933-57C4176A98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E9AFD6-CBC2-0E87-C1C3-B7733142E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DA4147-A689-F816-F9B6-CE70B4D8F3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953974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B2A09-6D42-A1C9-2219-6C123B1F59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8EBDBB6-2E13-6007-3BE4-B720792A22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6" indent="0">
              <a:buNone/>
              <a:defRPr sz="2800"/>
            </a:lvl2pPr>
            <a:lvl3pPr marL="914411" indent="0">
              <a:buNone/>
              <a:defRPr sz="2400"/>
            </a:lvl3pPr>
            <a:lvl4pPr marL="1371617" indent="0">
              <a:buNone/>
              <a:defRPr sz="2000"/>
            </a:lvl4pPr>
            <a:lvl5pPr marL="1828823" indent="0">
              <a:buNone/>
              <a:defRPr sz="2000"/>
            </a:lvl5pPr>
            <a:lvl6pPr marL="2286029" indent="0">
              <a:buNone/>
              <a:defRPr sz="2000"/>
            </a:lvl6pPr>
            <a:lvl7pPr marL="2743234" indent="0">
              <a:buNone/>
              <a:defRPr sz="2000"/>
            </a:lvl7pPr>
            <a:lvl8pPr marL="3200440" indent="0">
              <a:buNone/>
              <a:defRPr sz="2000"/>
            </a:lvl8pPr>
            <a:lvl9pPr marL="3657646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665E6A-91F4-F4D0-96E8-4B9764EEC3E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1"/>
            </a:lvl2pPr>
            <a:lvl3pPr marL="914411" indent="0">
              <a:buNone/>
              <a:defRPr sz="1200"/>
            </a:lvl3pPr>
            <a:lvl4pPr marL="1371617" indent="0">
              <a:buNone/>
              <a:defRPr sz="1001"/>
            </a:lvl4pPr>
            <a:lvl5pPr marL="1828823" indent="0">
              <a:buNone/>
              <a:defRPr sz="1001"/>
            </a:lvl5pPr>
            <a:lvl6pPr marL="2286029" indent="0">
              <a:buNone/>
              <a:defRPr sz="1001"/>
            </a:lvl6pPr>
            <a:lvl7pPr marL="2743234" indent="0">
              <a:buNone/>
              <a:defRPr sz="1001"/>
            </a:lvl7pPr>
            <a:lvl8pPr marL="3200440" indent="0">
              <a:buNone/>
              <a:defRPr sz="1001"/>
            </a:lvl8pPr>
            <a:lvl9pPr marL="3657646" indent="0">
              <a:buNone/>
              <a:defRPr sz="100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63D81D-E3A6-4A80-0F47-2526CA5745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7716190-2C90-DE3C-5A34-42EDFEDD47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5024D1-61DE-1AAB-2C63-7098AF617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965473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68373A-BF2B-28E4-6FFE-725DB46F8E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C92B2-E118-938A-229B-1D52B5357E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F7105D-8B17-1190-A824-CACC921E02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18F658-9915-4698-9F1E-C9FD11FF8CE4}" type="datetimeFigureOut">
              <a:rPr lang="en-CA" smtClean="0"/>
              <a:t>2023-05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9F3193-4B4D-3FDA-F5CC-8BCF509191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AA5501-1618-B836-3136-ECCF34DAAD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F0C469-F496-40DF-9B27-714043F74E45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4090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4" indent="-228604" algn="l" defTabSz="914411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5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1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7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8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4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9" indent="-228604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11" Type="http://schemas.openxmlformats.org/officeDocument/2006/relationships/hyperlink" Target="https://wiki.gccollab.ca/images/0/00/WTP_-_Community_norms_for_the_new_workplace_FR.pptx" TargetMode="External"/><Relationship Id="rId5" Type="http://schemas.openxmlformats.org/officeDocument/2006/relationships/oleObject" Target="../embeddings/oleObject1.bin"/><Relationship Id="rId10" Type="http://schemas.openxmlformats.org/officeDocument/2006/relationships/image" Target="../media/image6.png"/><Relationship Id="rId4" Type="http://schemas.openxmlformats.org/officeDocument/2006/relationships/image" Target="../media/image2.jpg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svg"/><Relationship Id="rId9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04A53EE-29A3-C29B-D0C9-3A7466947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55CE3D8-9354-6F57-2BA1-5862C15FF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9D66ECED-F5CF-61CB-A4CE-2225D2D135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521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6" name="Object 5">
                        <a:extLst>
                          <a:ext uri="{FF2B5EF4-FFF2-40B4-BE49-F238E27FC236}">
                            <a16:creationId xmlns:a16="http://schemas.microsoft.com/office/drawing/2014/main" id="{903CB791-FF8C-C170-1E5F-8C9286C1B0C3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5C11A35-35C0-4BA1-E858-991E747DF1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07401494-C0B3-6016-30D8-9D81296BE640}"/>
              </a:ext>
            </a:extLst>
          </p:cNvPr>
          <p:cNvSpPr txBox="1">
            <a:spLocks/>
          </p:cNvSpPr>
          <p:nvPr/>
        </p:nvSpPr>
        <p:spPr>
          <a:xfrm>
            <a:off x="511884" y="2087217"/>
            <a:ext cx="5028304" cy="158770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bg1"/>
                </a:solidFill>
                <a:latin typeface="Arial Rounded MT Bold" panose="020F0704030504030204" pitchFamily="34" charset="0"/>
              </a:rPr>
              <a:t>Community norms for the new workplace</a:t>
            </a:r>
            <a:endParaRPr lang="en-US" sz="3600" b="1" dirty="0">
              <a:latin typeface="Arial Rounded MT Bold" panose="020F0704030504030204" pitchFamily="34" charset="0"/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C09E5A6F-9A82-D8F1-43EE-C1329B310A2C}"/>
              </a:ext>
            </a:extLst>
          </p:cNvPr>
          <p:cNvSpPr txBox="1">
            <a:spLocks/>
          </p:cNvSpPr>
          <p:nvPr/>
        </p:nvSpPr>
        <p:spPr>
          <a:xfrm>
            <a:off x="511884" y="3515332"/>
            <a:ext cx="3494087" cy="52695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200" b="1">
                <a:solidFill>
                  <a:schemeClr val="accent6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ate : May 2023</a:t>
            </a:r>
            <a:endParaRPr lang="en-CA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3219267-F29D-99FF-0F06-47CA76FC0C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77987A5-1865-5D1C-2AF1-4BDABEAE751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pic>
        <p:nvPicPr>
          <p:cNvPr id="13" name="Picture 12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FF2B5EF4-FFF2-40B4-BE49-F238E27FC236}">
                <a16:creationId xmlns:a16="http://schemas.microsoft.com/office/drawing/2014/main" id="{65DDE7E5-4F93-AB06-0A24-94E647621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E624758-5874-24C7-E962-F740B241C81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85" y="484212"/>
            <a:ext cx="2267436" cy="77494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FD29F35-C5DF-B922-AB99-EE5474F0675F}"/>
              </a:ext>
            </a:extLst>
          </p:cNvPr>
          <p:cNvSpPr txBox="1"/>
          <p:nvPr/>
        </p:nvSpPr>
        <p:spPr>
          <a:xfrm>
            <a:off x="86333" y="5856105"/>
            <a:ext cx="615526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CA" sz="12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* The French version of this document is available here </a:t>
            </a:r>
            <a:r>
              <a:rPr lang="fr-CA" sz="1200" b="1" dirty="0">
                <a:solidFill>
                  <a:schemeClr val="accent6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: </a:t>
            </a:r>
            <a:r>
              <a:rPr lang="fr-CA" sz="1200" b="1" dirty="0">
                <a:solidFill>
                  <a:schemeClr val="accent5">
                    <a:lumMod val="60000"/>
                    <a:lumOff val="40000"/>
                  </a:schemeClr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 version</a:t>
            </a:r>
            <a:endParaRPr lang="en-CA" sz="1200" b="1" dirty="0">
              <a:solidFill>
                <a:schemeClr val="accent5">
                  <a:lumMod val="60000"/>
                  <a:lumOff val="40000"/>
                </a:schemeClr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4405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81D6205-466C-1CBC-829F-D4D9D3F5F2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-5848"/>
            <a:ext cx="12192000" cy="889234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1801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16131E4-58C6-18B6-2C48-0A50C5144D3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8" t="1" r="12864" b="5289"/>
          <a:stretch/>
        </p:blipFill>
        <p:spPr>
          <a:xfrm>
            <a:off x="128521" y="70386"/>
            <a:ext cx="744894" cy="718835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1FA8B732-EAD4-9D42-6199-E5CF43E0F57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923162" y="69169"/>
            <a:ext cx="9400414" cy="707886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4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 Demi" panose="020B0704020202020204" pitchFamily="34" charset="0"/>
                <a:ea typeface="+mn-ea"/>
                <a:cs typeface="+mn-cs"/>
              </a:rPr>
              <a:t>Community norms for our workplace</a:t>
            </a:r>
          </a:p>
        </p:txBody>
      </p:sp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31BCA323-36A1-C248-1C57-6628FFC18C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8088131"/>
              </p:ext>
            </p:extLst>
          </p:nvPr>
        </p:nvGraphicFramePr>
        <p:xfrm>
          <a:off x="0" y="849810"/>
          <a:ext cx="12192000" cy="514413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48000">
                  <a:extLst>
                    <a:ext uri="{9D8B030D-6E8A-4147-A177-3AD203B41FA5}">
                      <a16:colId xmlns:a16="http://schemas.microsoft.com/office/drawing/2014/main" val="1151483958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3642203410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589767955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1443235224"/>
                    </a:ext>
                  </a:extLst>
                </a:gridCol>
              </a:tblGrid>
              <a:tr h="5144133">
                <a:tc>
                  <a:txBody>
                    <a:bodyPr/>
                    <a:lstStyle/>
                    <a:p>
                      <a:endParaRPr lang="en-CA" sz="1100" dirty="0"/>
                    </a:p>
                  </a:txBody>
                  <a:tcPr marT="45721" marB="4572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100" dirty="0"/>
                    </a:p>
                  </a:txBody>
                  <a:tcPr marT="45721" marB="45721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AA23C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100" dirty="0"/>
                    </a:p>
                  </a:txBody>
                  <a:tcPr marT="45721" marB="4572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27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100" dirty="0"/>
                    </a:p>
                  </a:txBody>
                  <a:tcPr marT="45721" marB="45721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3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4189627"/>
                  </a:ext>
                </a:extLst>
              </a:tr>
            </a:tbl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11D65615-E342-0B9A-10FA-67A836F2D831}"/>
              </a:ext>
            </a:extLst>
          </p:cNvPr>
          <p:cNvSpPr txBox="1"/>
          <p:nvPr/>
        </p:nvSpPr>
        <p:spPr>
          <a:xfrm>
            <a:off x="496216" y="1477756"/>
            <a:ext cx="19795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2800" dirty="0">
                <a:solidFill>
                  <a:schemeClr val="bg1"/>
                </a:solidFill>
                <a:latin typeface="Avenir Next LT Pro Demi" panose="020B0704020202020204" pitchFamily="34" charset="0"/>
              </a:rPr>
              <a:t>Awareness</a:t>
            </a:r>
            <a:endParaRPr lang="en-CA" sz="2800" dirty="0">
              <a:solidFill>
                <a:schemeClr val="bg1"/>
              </a:solidFill>
              <a:latin typeface="Avenir Next LT Pro Demi" panose="020B07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CE04B58-91B8-D9AC-2034-484C9AD5D762}"/>
              </a:ext>
            </a:extLst>
          </p:cNvPr>
          <p:cNvSpPr txBox="1"/>
          <p:nvPr/>
        </p:nvSpPr>
        <p:spPr>
          <a:xfrm>
            <a:off x="3793576" y="1477756"/>
            <a:ext cx="1548780" cy="523220"/>
          </a:xfrm>
          <a:prstGeom prst="rect">
            <a:avLst/>
          </a:prstGeom>
          <a:solidFill>
            <a:srgbClr val="6AA23C"/>
          </a:solidFill>
        </p:spPr>
        <p:txBody>
          <a:bodyPr wrap="square" rtlCol="0">
            <a:spAutoFit/>
          </a:bodyPr>
          <a:lstStyle/>
          <a:p>
            <a:r>
              <a:rPr lang="fr-CA" sz="2800" dirty="0">
                <a:solidFill>
                  <a:schemeClr val="bg1"/>
                </a:solidFill>
                <a:latin typeface="Avenir Next LT Pro Demi" panose="020B0704020202020204" pitchFamily="34" charset="0"/>
              </a:rPr>
              <a:t>Respect</a:t>
            </a:r>
            <a:endParaRPr lang="en-CA" sz="2800" dirty="0">
              <a:solidFill>
                <a:schemeClr val="bg1"/>
              </a:solidFill>
              <a:latin typeface="Avenir Next LT Pro Demi" panose="020B07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FFBF97-842D-9A43-FACA-27FC72DAB8A9}"/>
              </a:ext>
            </a:extLst>
          </p:cNvPr>
          <p:cNvSpPr txBox="1"/>
          <p:nvPr/>
        </p:nvSpPr>
        <p:spPr>
          <a:xfrm>
            <a:off x="6797626" y="1477756"/>
            <a:ext cx="1646300" cy="523220"/>
          </a:xfrm>
          <a:prstGeom prst="rect">
            <a:avLst/>
          </a:prstGeom>
          <a:solidFill>
            <a:srgbClr val="008273"/>
          </a:solidFill>
        </p:spPr>
        <p:txBody>
          <a:bodyPr wrap="square" rtlCol="0">
            <a:spAutoFit/>
          </a:bodyPr>
          <a:lstStyle/>
          <a:p>
            <a:r>
              <a:rPr lang="fr-CA" sz="2800" dirty="0">
                <a:solidFill>
                  <a:schemeClr val="bg1"/>
                </a:solidFill>
                <a:latin typeface="Avenir Next LT Pro Demi" panose="020B0704020202020204" pitchFamily="34" charset="0"/>
              </a:rPr>
              <a:t>Courtesy</a:t>
            </a:r>
            <a:endParaRPr lang="en-CA" sz="2800" dirty="0">
              <a:solidFill>
                <a:schemeClr val="bg1"/>
              </a:solidFill>
              <a:latin typeface="Avenir Next LT Pro Demi" panose="020B07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D86F55A-536A-C26B-E180-8A5BD4DA4669}"/>
              </a:ext>
            </a:extLst>
          </p:cNvPr>
          <p:cNvSpPr txBox="1"/>
          <p:nvPr/>
        </p:nvSpPr>
        <p:spPr>
          <a:xfrm>
            <a:off x="9337766" y="1477756"/>
            <a:ext cx="28282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2800" dirty="0">
                <a:solidFill>
                  <a:schemeClr val="bg1"/>
                </a:solidFill>
                <a:latin typeface="Avenir Next LT Pro Demi" panose="020B0704020202020204" pitchFamily="34" charset="0"/>
              </a:rPr>
              <a:t>Communication</a:t>
            </a:r>
            <a:endParaRPr lang="en-CA" sz="2800" dirty="0">
              <a:solidFill>
                <a:schemeClr val="bg1"/>
              </a:solidFill>
              <a:latin typeface="Avenir Next LT Pro Demi" panose="020B07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A1FE147D-FFA1-0573-A44F-6A47CD48C9BE}"/>
              </a:ext>
            </a:extLst>
          </p:cNvPr>
          <p:cNvSpPr txBox="1"/>
          <p:nvPr/>
        </p:nvSpPr>
        <p:spPr>
          <a:xfrm>
            <a:off x="142612" y="4267826"/>
            <a:ext cx="2644217" cy="646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801" dirty="0">
                <a:solidFill>
                  <a:schemeClr val="bg1"/>
                </a:solidFill>
                <a:latin typeface="Avenir Next LT Pro Demi" panose="020B0704020202020204" pitchFamily="34" charset="0"/>
              </a:rPr>
              <a:t>Be aware of others and yourself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4017022-BDA7-7F40-ACFC-511FB725DD16}"/>
              </a:ext>
            </a:extLst>
          </p:cNvPr>
          <p:cNvSpPr txBox="1"/>
          <p:nvPr/>
        </p:nvSpPr>
        <p:spPr>
          <a:xfrm>
            <a:off x="3383845" y="4267826"/>
            <a:ext cx="2429109" cy="64658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CA" sz="1801" dirty="0">
                <a:solidFill>
                  <a:schemeClr val="bg1"/>
                </a:solidFill>
                <a:latin typeface="Avenir Next LT Pro Demi" panose="020B0704020202020204" pitchFamily="34" charset="0"/>
              </a:rPr>
              <a:t>Respect for people and the environment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A9825DC-7F52-60FC-1F6F-AED9FE91A127}"/>
              </a:ext>
            </a:extLst>
          </p:cNvPr>
          <p:cNvSpPr txBox="1"/>
          <p:nvPr/>
        </p:nvSpPr>
        <p:spPr>
          <a:xfrm>
            <a:off x="6206646" y="4267825"/>
            <a:ext cx="2828260" cy="6465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CA" sz="1801" dirty="0">
                <a:solidFill>
                  <a:schemeClr val="bg1"/>
                </a:solidFill>
                <a:latin typeface="Avenir Next LT Pro Demi" panose="020B0704020202020204" pitchFamily="34" charset="0"/>
              </a:rPr>
              <a:t>Behave mindfully and politel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9B557F98-5F36-1967-3366-4568BFB454B1}"/>
              </a:ext>
            </a:extLst>
          </p:cNvPr>
          <p:cNvSpPr txBox="1"/>
          <p:nvPr/>
        </p:nvSpPr>
        <p:spPr>
          <a:xfrm>
            <a:off x="9196798" y="4263962"/>
            <a:ext cx="2988452" cy="12008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801" dirty="0">
                <a:solidFill>
                  <a:schemeClr val="bg1"/>
                </a:solidFill>
                <a:latin typeface="Avenir Next LT Pro Demi" panose="020B0704020202020204" pitchFamily="34" charset="0"/>
              </a:rPr>
              <a:t>Contribute to a work environment characterized by healthy communication</a:t>
            </a:r>
          </a:p>
        </p:txBody>
      </p:sp>
      <p:pic>
        <p:nvPicPr>
          <p:cNvPr id="3" name="Graphic 2" descr="Marker with solid fill">
            <a:extLst>
              <a:ext uri="{FF2B5EF4-FFF2-40B4-BE49-F238E27FC236}">
                <a16:creationId xmlns:a16="http://schemas.microsoft.com/office/drawing/2014/main" id="{D58ED63F-D9EF-BCD7-AAAC-7938E69A3E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6086360"/>
            <a:ext cx="646587" cy="64658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50E2177-9036-D484-BE20-B53EDD22247D}"/>
              </a:ext>
            </a:extLst>
          </p:cNvPr>
          <p:cNvSpPr txBox="1"/>
          <p:nvPr/>
        </p:nvSpPr>
        <p:spPr>
          <a:xfrm>
            <a:off x="474918" y="6215635"/>
            <a:ext cx="43190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2000" dirty="0">
                <a:solidFill>
                  <a:schemeClr val="bg2">
                    <a:lumMod val="50000"/>
                  </a:schemeClr>
                </a:solidFill>
                <a:highlight>
                  <a:srgbClr val="FFFF00"/>
                </a:highlight>
                <a:latin typeface="Avenir Next LT Pro Demi" panose="020B0704020202020204" pitchFamily="34" charset="0"/>
              </a:rPr>
              <a:t>Building name, Floor, City, Province</a:t>
            </a:r>
            <a:endParaRPr lang="en-CA" sz="2000" dirty="0">
              <a:solidFill>
                <a:schemeClr val="bg2">
                  <a:lumMod val="50000"/>
                </a:schemeClr>
              </a:solidFill>
              <a:highlight>
                <a:srgbClr val="FFFF00"/>
              </a:highlight>
              <a:latin typeface="Avenir Next LT Pro Demi" panose="020B0704020202020204" pitchFamily="34" charset="0"/>
            </a:endParaRPr>
          </a:p>
        </p:txBody>
      </p:sp>
      <p:pic>
        <p:nvPicPr>
          <p:cNvPr id="6" name="Content Placeholder 10">
            <a:extLst>
              <a:ext uri="{FF2B5EF4-FFF2-40B4-BE49-F238E27FC236}">
                <a16:creationId xmlns:a16="http://schemas.microsoft.com/office/drawing/2014/main" id="{C0805EC7-ED3B-0C2C-FD1B-28B00CFABE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-9471"/>
          <a:stretch/>
        </p:blipFill>
        <p:spPr>
          <a:xfrm>
            <a:off x="10323576" y="6175313"/>
            <a:ext cx="1842450" cy="457799"/>
          </a:xfrm>
          <a:prstGeom prst="rect">
            <a:avLst/>
          </a:prstGeom>
        </p:spPr>
      </p:pic>
      <p:pic>
        <p:nvPicPr>
          <p:cNvPr id="7" name="Picture 6" descr="A picture containing logo, symbol, white, graphics&#10;&#10;Description automatically generated">
            <a:extLst>
              <a:ext uri="{FF2B5EF4-FFF2-40B4-BE49-F238E27FC236}">
                <a16:creationId xmlns:a16="http://schemas.microsoft.com/office/drawing/2014/main" id="{C42DD104-B184-EE58-C379-2445760DE1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0851" y="2398146"/>
            <a:ext cx="1583408" cy="1583408"/>
          </a:xfrm>
          <a:prstGeom prst="rect">
            <a:avLst/>
          </a:prstGeom>
        </p:spPr>
      </p:pic>
      <p:pic>
        <p:nvPicPr>
          <p:cNvPr id="12" name="Picture 11" descr="A picture containing symbol, graphics, font, logo&#10;&#10;Description automatically generated">
            <a:extLst>
              <a:ext uri="{FF2B5EF4-FFF2-40B4-BE49-F238E27FC236}">
                <a16:creationId xmlns:a16="http://schemas.microsoft.com/office/drawing/2014/main" id="{33F4392E-86CE-ABDA-201A-5A3FBFEBD21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9004" y="2392726"/>
            <a:ext cx="1583408" cy="1583408"/>
          </a:xfrm>
          <a:prstGeom prst="rect">
            <a:avLst/>
          </a:prstGeom>
        </p:spPr>
      </p:pic>
      <p:pic>
        <p:nvPicPr>
          <p:cNvPr id="14" name="Picture 13" descr="A white light bulb with a brain inside&#10;&#10;Description automatically generated with low confidence">
            <a:extLst>
              <a:ext uri="{FF2B5EF4-FFF2-40B4-BE49-F238E27FC236}">
                <a16:creationId xmlns:a16="http://schemas.microsoft.com/office/drawing/2014/main" id="{50D5C11E-C21C-3BE0-119D-325A5D904AE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329" y="2392725"/>
            <a:ext cx="1583409" cy="1583409"/>
          </a:xfrm>
          <a:prstGeom prst="rect">
            <a:avLst/>
          </a:prstGeom>
        </p:spPr>
      </p:pic>
      <p:pic>
        <p:nvPicPr>
          <p:cNvPr id="20" name="Picture 19" descr="A white logo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8888136A-02A8-2199-2414-92BAF0B2BF7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6261" y="2392726"/>
            <a:ext cx="1583409" cy="1583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82212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5A895"/>
      </a:accent2>
      <a:accent3>
        <a:srgbClr val="1C9848"/>
      </a:accent3>
      <a:accent4>
        <a:srgbClr val="DF990D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84</TotalTime>
  <Words>65</Words>
  <Application>Microsoft Office PowerPoint</Application>
  <PresentationFormat>Widescreen</PresentationFormat>
  <Paragraphs>13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Arial Rounded MT Bold</vt:lpstr>
      <vt:lpstr>Avenir Next LT Pro Demi</vt:lpstr>
      <vt:lpstr>Calibri</vt:lpstr>
      <vt:lpstr>Calibri Light</vt:lpstr>
      <vt:lpstr>Office Theme</vt:lpstr>
      <vt:lpstr>think-cell Slide</vt:lpstr>
      <vt:lpstr>PowerPoint Presentation</vt:lpstr>
      <vt:lpstr>Community norms for our workplac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nereux, Sophie (SPAC/PSPC) (elle-la / she-her)</dc:creator>
  <cp:lastModifiedBy>Genereux, Sophie (SPAC/PSPC) (elle-la / she-her)</cp:lastModifiedBy>
  <cp:revision>21</cp:revision>
  <dcterms:created xsi:type="dcterms:W3CDTF">2023-04-12T17:09:12Z</dcterms:created>
  <dcterms:modified xsi:type="dcterms:W3CDTF">2023-05-08T11:5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04-12T17:09:12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ce855c87-45d1-45f6-bfda-264aaf46fa04</vt:lpwstr>
  </property>
  <property fmtid="{D5CDD505-2E9C-101B-9397-08002B2CF9AE}" pid="8" name="MSIP_Label_834ed4f5-eae4-40c7-82be-b1cdf720a1b9_ContentBits">
    <vt:lpwstr>1</vt:lpwstr>
  </property>
  <property fmtid="{D5CDD505-2E9C-101B-9397-08002B2CF9AE}" pid="9" name="ClassificationContentMarkingHeaderLocations">
    <vt:lpwstr>Office Theme:8</vt:lpwstr>
  </property>
  <property fmtid="{D5CDD505-2E9C-101B-9397-08002B2CF9AE}" pid="10" name="ClassificationContentMarkingHeaderText">
    <vt:lpwstr>UNCLASSIFIED - NON CLASSIFIÉ</vt:lpwstr>
  </property>
  <property fmtid="{D5CDD505-2E9C-101B-9397-08002B2CF9AE}" pid="11" name="_AdHocReviewCycleID">
    <vt:i4>2033076811</vt:i4>
  </property>
  <property fmtid="{D5CDD505-2E9C-101B-9397-08002B2CF9AE}" pid="12" name="_NewReviewCycle">
    <vt:lpwstr/>
  </property>
  <property fmtid="{D5CDD505-2E9C-101B-9397-08002B2CF9AE}" pid="13" name="_EmailSubject">
    <vt:lpwstr>Comm norms poster</vt:lpwstr>
  </property>
  <property fmtid="{D5CDD505-2E9C-101B-9397-08002B2CF9AE}" pid="14" name="_AuthorEmail">
    <vt:lpwstr>Carine.Pare@tpsgc-pwgsc.gc.ca</vt:lpwstr>
  </property>
  <property fmtid="{D5CDD505-2E9C-101B-9397-08002B2CF9AE}" pid="15" name="_AuthorEmailDisplayName">
    <vt:lpwstr>Pare, Carine (SPAC/PSPC) (elle-la / she-her)</vt:lpwstr>
  </property>
  <property fmtid="{D5CDD505-2E9C-101B-9397-08002B2CF9AE}" pid="16" name="_PreviousAdHocReviewCycleID">
    <vt:i4>-1166460090</vt:i4>
  </property>
</Properties>
</file>